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209" r:id="rId1"/>
  </p:sldMasterIdLst>
  <p:notesMasterIdLst>
    <p:notesMasterId r:id="rId4"/>
  </p:notesMasterIdLst>
  <p:handoutMasterIdLst>
    <p:handoutMasterId r:id="rId5"/>
  </p:handoutMasterIdLst>
  <p:sldIdLst>
    <p:sldId id="490" r:id="rId2"/>
    <p:sldId id="491" r:id="rId3"/>
  </p:sldIdLst>
  <p:sldSz cx="9144000" cy="6858000" type="screen4x3"/>
  <p:notesSz cx="6858000" cy="9144000"/>
  <p:custDataLst>
    <p:tags r:id="rId6"/>
  </p:custDataLst>
  <p:defaultTextStyle>
    <a:defPPr>
      <a:defRPr lang="es-ES_tradnl"/>
    </a:defPPr>
    <a:lvl1pPr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b="1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b="1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b="1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b="1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864">
          <p15:clr>
            <a:srgbClr val="A4A3A4"/>
          </p15:clr>
        </p15:guide>
        <p15:guide id="2" orient="horz" pos="433">
          <p15:clr>
            <a:srgbClr val="A4A3A4"/>
          </p15:clr>
        </p15:guide>
        <p15:guide id="3" orient="horz" pos="2158">
          <p15:clr>
            <a:srgbClr val="A4A3A4"/>
          </p15:clr>
        </p15:guide>
        <p15:guide id="4" orient="horz" pos="2836">
          <p15:clr>
            <a:srgbClr val="A4A3A4"/>
          </p15:clr>
        </p15:guide>
        <p15:guide id="5" pos="5372">
          <p15:clr>
            <a:srgbClr val="A4A3A4"/>
          </p15:clr>
        </p15:guide>
        <p15:guide id="6" pos="574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012D"/>
    <a:srgbClr val="808000"/>
    <a:srgbClr val="666633"/>
    <a:srgbClr val="669900"/>
    <a:srgbClr val="CCCC00"/>
    <a:srgbClr val="FF9999"/>
    <a:srgbClr val="B2B2B2"/>
    <a:srgbClr val="0033CC"/>
    <a:srgbClr val="00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1891" autoAdjust="0"/>
    <p:restoredTop sz="94033" autoAdjust="0"/>
  </p:normalViewPr>
  <p:slideViewPr>
    <p:cSldViewPr snapToGrid="0">
      <p:cViewPr>
        <p:scale>
          <a:sx n="86" d="100"/>
          <a:sy n="86" d="100"/>
        </p:scale>
        <p:origin x="300" y="-282"/>
      </p:cViewPr>
      <p:guideLst>
        <p:guide orient="horz" pos="1864"/>
        <p:guide orient="horz" pos="433"/>
        <p:guide orient="horz" pos="2158"/>
        <p:guide orient="horz" pos="2836"/>
        <p:guide pos="5372"/>
        <p:guide pos="574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60" d="100"/>
          <a:sy n="60" d="100"/>
        </p:scale>
        <p:origin x="-1560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b="0">
                <a:latin typeface="Arial" charset="0"/>
              </a:defRPr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charset="0"/>
              </a:defRPr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b="0">
                <a:latin typeface="Arial" charset="0"/>
              </a:defRPr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charset="0"/>
              </a:defRPr>
            </a:lvl1pPr>
          </a:lstStyle>
          <a:p>
            <a:pPr>
              <a:defRPr/>
            </a:pPr>
            <a:fld id="{E6D59313-0225-448E-8B3D-DE331F931F8C}" type="slidenum">
              <a:rPr lang="es-ES_tradnl"/>
              <a:pPr>
                <a:defRPr/>
              </a:pPr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218428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b="0">
                <a:latin typeface="Arial" charset="0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charset="0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2150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24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noProof="0"/>
              <a:t>Clique para editar os estilos do texto mestre</a:t>
            </a:r>
          </a:p>
          <a:p>
            <a:pPr lvl="1"/>
            <a:r>
              <a:rPr lang="pt-BR" noProof="0"/>
              <a:t>Segundo nível</a:t>
            </a:r>
          </a:p>
          <a:p>
            <a:pPr lvl="2"/>
            <a:r>
              <a:rPr lang="pt-BR" noProof="0"/>
              <a:t>Terceiro nível</a:t>
            </a:r>
          </a:p>
          <a:p>
            <a:pPr lvl="3"/>
            <a:r>
              <a:rPr lang="pt-BR" noProof="0"/>
              <a:t>Quarto nível</a:t>
            </a:r>
          </a:p>
          <a:p>
            <a:pPr lvl="4"/>
            <a:r>
              <a:rPr lang="pt-BR" noProof="0"/>
              <a:t>Quinto nível</a:t>
            </a:r>
          </a:p>
        </p:txBody>
      </p:sp>
      <p:sp>
        <p:nvSpPr>
          <p:cNvPr id="1024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b="0">
                <a:latin typeface="Arial" charset="0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1024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charset="0"/>
              </a:defRPr>
            </a:lvl1pPr>
          </a:lstStyle>
          <a:p>
            <a:pPr>
              <a:defRPr/>
            </a:pPr>
            <a:fld id="{33F979FF-FF9E-4003-9145-E10EAEA0ED25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3200539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3F979FF-FF9E-4003-9145-E10EAEA0ED25}" type="slidenum">
              <a:rPr lang="pt-BR" smtClean="0"/>
              <a:pPr>
                <a:defRPr/>
              </a:pPr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487498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371600"/>
            <a:ext cx="7848600" cy="1927225"/>
          </a:xfrm>
        </p:spPr>
        <p:txBody>
          <a:bodyPr anchor="b">
            <a:noAutofit/>
          </a:bodyPr>
          <a:lstStyle>
            <a:lvl1pPr>
              <a:defRPr sz="5400" cap="all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3505200"/>
            <a:ext cx="64008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ACDF6120-F1F0-4C60-9FE9-39AC71A9C79D}" type="datetimeFigureOut">
              <a:rPr lang="en-US" smtClean="0"/>
              <a:pPr eaLnBrk="1" latinLnBrk="0" hangingPunct="1"/>
              <a:t>11/14/2017</a:t>
            </a:fld>
            <a:endParaRPr lang="en-US" sz="16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latinLnBrk="0" hangingPunct="1"/>
            <a:fld id="{EA7C8D44-3667-46F6-9772-CC52308E2A7F}" type="slidenum">
              <a:rPr kumimoji="0" lang="en-US" smtClean="0"/>
              <a:pPr eaLnBrk="1" latinLnBrk="0" hangingPunct="1"/>
              <a:t>‹nº›</a:t>
            </a:fld>
            <a:endParaRPr kumimoji="0"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685800" y="3398520"/>
            <a:ext cx="7848600" cy="158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ACDF6120-F1F0-4C60-9FE9-39AC71A9C79D}" type="datetimeFigureOut">
              <a:rPr lang="en-US" smtClean="0"/>
              <a:pPr eaLnBrk="1" latinLnBrk="0" hangingPunct="1"/>
              <a:t>11/1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latinLnBrk="0" hangingPunct="1"/>
            <a:fld id="{EA7C8D44-3667-46F6-9772-CC52308E2A7F}" type="slidenum">
              <a:rPr kumimoji="0" lang="en-US" smtClean="0"/>
              <a:pPr eaLnBrk="1" latinLnBrk="0" hangingPunct="1"/>
              <a:t>‹nº›</a:t>
            </a:fld>
            <a:endParaRPr kumimoji="0"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609600"/>
            <a:ext cx="2057400" cy="5867400"/>
          </a:xfrm>
        </p:spPr>
        <p:txBody>
          <a:bodyPr vert="eaVert" anchor="b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609600"/>
            <a:ext cx="6019800" cy="58674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ACDF6120-F1F0-4C60-9FE9-39AC71A9C79D}" type="datetimeFigureOut">
              <a:rPr lang="en-US" smtClean="0"/>
              <a:pPr eaLnBrk="1" latinLnBrk="0" hangingPunct="1"/>
              <a:t>11/1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latinLnBrk="0" hangingPunct="1"/>
            <a:fld id="{EA7C8D44-3667-46F6-9772-CC52308E2A7F}" type="slidenum">
              <a:rPr kumimoji="0" lang="en-US" smtClean="0"/>
              <a:pPr eaLnBrk="1" latinLnBrk="0" hangingPunct="1"/>
              <a:t>‹nº›</a:t>
            </a:fld>
            <a:endParaRPr kumimoji="0"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ACDF6120-F1F0-4C60-9FE9-39AC71A9C79D}" type="datetimeFigureOut">
              <a:rPr lang="en-US" smtClean="0"/>
              <a:pPr eaLnBrk="1" latinLnBrk="0" hangingPunct="1"/>
              <a:t>11/14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latinLnBrk="0" hangingPunct="1"/>
            <a:fld id="{EA7C8D44-3667-46F6-9772-CC52308E2A7F}" type="slidenum">
              <a:rPr kumimoji="0" lang="en-US" smtClean="0"/>
              <a:pPr eaLnBrk="1" latinLnBrk="0" hangingPunct="1"/>
              <a:t>‹nº›</a:t>
            </a:fld>
            <a:endParaRPr kumimoji="0"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2362200"/>
            <a:ext cx="7772400" cy="2200275"/>
          </a:xfrm>
        </p:spPr>
        <p:txBody>
          <a:bodyPr anchor="b">
            <a:normAutofit/>
          </a:bodyPr>
          <a:lstStyle>
            <a:lvl1pPr algn="l">
              <a:defRPr sz="4800" b="0" cap="all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626864"/>
            <a:ext cx="7772400" cy="1500187"/>
          </a:xfrm>
        </p:spPr>
        <p:txBody>
          <a:bodyPr anchor="t">
            <a:normAutofit/>
          </a:bodyPr>
          <a:lstStyle>
            <a:lvl1pPr marL="0" indent="0">
              <a:buNone/>
              <a:defRPr sz="24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ACDF6120-F1F0-4C60-9FE9-39AC71A9C79D}" type="datetimeFigureOut">
              <a:rPr lang="en-US" smtClean="0"/>
              <a:pPr eaLnBrk="1" latinLnBrk="0" hangingPunct="1"/>
              <a:t>11/14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latinLnBrk="0" hangingPunct="1"/>
            <a:fld id="{EA7C8D44-3667-46F6-9772-CC52308E2A7F}" type="slidenum">
              <a:rPr kumimoji="0" lang="en-US" smtClean="0"/>
              <a:pPr eaLnBrk="1" latinLnBrk="0" hangingPunct="1"/>
              <a:t>‹nº›</a:t>
            </a:fld>
            <a:endParaRPr kumimoji="0" lang="en-US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731520" y="4599432"/>
            <a:ext cx="7848600" cy="158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73352"/>
            <a:ext cx="4038600" cy="471830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73352"/>
            <a:ext cx="4038600" cy="471830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ACDF6120-F1F0-4C60-9FE9-39AC71A9C79D}" type="datetimeFigureOut">
              <a:rPr lang="en-US" smtClean="0"/>
              <a:pPr eaLnBrk="1" latinLnBrk="0" hangingPunct="1"/>
              <a:t>11/14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latinLnBrk="0" hangingPunct="1"/>
            <a:fld id="{EA7C8D44-3667-46F6-9772-CC52308E2A7F}" type="slidenum">
              <a:rPr kumimoji="0" lang="en-US" smtClean="0"/>
              <a:pPr eaLnBrk="1" latinLnBrk="0" hangingPunct="1"/>
              <a:t>‹nº›</a:t>
            </a:fld>
            <a:endParaRPr kumimoji="0"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76400"/>
            <a:ext cx="3931920" cy="639762"/>
          </a:xfr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2000" b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438400"/>
            <a:ext cx="393192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54880" y="1676400"/>
            <a:ext cx="3931920" cy="639762"/>
          </a:xfr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lang="en-US" sz="20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54880" y="2438400"/>
            <a:ext cx="393192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ACDF6120-F1F0-4C60-9FE9-39AC71A9C79D}" type="datetimeFigureOut">
              <a:rPr lang="en-US" smtClean="0"/>
              <a:pPr eaLnBrk="1" latinLnBrk="0" hangingPunct="1"/>
              <a:t>11/14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latinLnBrk="0" hangingPunct="1"/>
            <a:fld id="{EA7C8D44-3667-46F6-9772-CC52308E2A7F}" type="slidenum">
              <a:rPr kumimoji="0" lang="en-US" smtClean="0"/>
              <a:pPr eaLnBrk="1" latinLnBrk="0" hangingPunct="1"/>
              <a:t>‹nº›</a:t>
            </a:fld>
            <a:endParaRPr kumimoji="0" lang="en-US"/>
          </a:p>
        </p:txBody>
      </p:sp>
      <p:cxnSp>
        <p:nvCxnSpPr>
          <p:cNvPr id="11" name="Straight Connector 10"/>
          <p:cNvCxnSpPr/>
          <p:nvPr/>
        </p:nvCxnSpPr>
        <p:spPr>
          <a:xfrm rot="5400000">
            <a:off x="2217817" y="4045823"/>
            <a:ext cx="4709160" cy="794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ACDF6120-F1F0-4C60-9FE9-39AC71A9C79D}" type="datetimeFigureOut">
              <a:rPr lang="en-US" smtClean="0"/>
              <a:pPr eaLnBrk="1" latinLnBrk="0" hangingPunct="1"/>
              <a:t>11/14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latinLnBrk="0" hangingPunct="1"/>
            <a:fld id="{EA7C8D44-3667-46F6-9772-CC52308E2A7F}" type="slidenum">
              <a:rPr kumimoji="0" lang="en-US" smtClean="0"/>
              <a:pPr eaLnBrk="1" latinLnBrk="0" hangingPunct="1"/>
              <a:t>‹nº›</a:t>
            </a:fld>
            <a:endParaRPr kumimoji="0"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ACDF6120-F1F0-4C60-9FE9-39AC71A9C79D}" type="datetimeFigureOut">
              <a:rPr lang="en-US" smtClean="0"/>
              <a:pPr eaLnBrk="1" latinLnBrk="0" hangingPunct="1"/>
              <a:t>11/14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latinLnBrk="0" hangingPunct="1"/>
            <a:fld id="{EA7C8D44-3667-46F6-9772-CC52308E2A7F}" type="slidenum">
              <a:rPr kumimoji="0" lang="en-US" smtClean="0"/>
              <a:pPr eaLnBrk="1" latinLnBrk="0" hangingPunct="1"/>
              <a:t>‹nº›</a:t>
            </a:fld>
            <a:endParaRPr kumimoji="0"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92080"/>
            <a:ext cx="2139696" cy="1261872"/>
          </a:xfrm>
        </p:spPr>
        <p:txBody>
          <a:bodyPr anchor="b">
            <a:no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71800" y="792080"/>
            <a:ext cx="5715000" cy="557784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2130552"/>
            <a:ext cx="2139696" cy="4243615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ACDF6120-F1F0-4C60-9FE9-39AC71A9C79D}" type="datetimeFigureOut">
              <a:rPr lang="en-US" smtClean="0"/>
              <a:pPr eaLnBrk="1" latinLnBrk="0" hangingPunct="1"/>
              <a:t>11/14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latinLnBrk="0" hangingPunct="1"/>
            <a:fld id="{EA7C8D44-3667-46F6-9772-CC52308E2A7F}" type="slidenum">
              <a:rPr kumimoji="0" lang="en-US" smtClean="0"/>
              <a:pPr eaLnBrk="1" latinLnBrk="0" hangingPunct="1"/>
              <a:t>‹nº›</a:t>
            </a:fld>
            <a:endParaRPr kumimoji="0" lang="en-US"/>
          </a:p>
        </p:txBody>
      </p:sp>
      <p:cxnSp>
        <p:nvCxnSpPr>
          <p:cNvPr id="9" name="Straight Connector 8"/>
          <p:cNvCxnSpPr/>
          <p:nvPr/>
        </p:nvCxnSpPr>
        <p:spPr>
          <a:xfrm rot="5400000">
            <a:off x="-13116" y="3580206"/>
            <a:ext cx="5577840" cy="158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92480"/>
            <a:ext cx="2142680" cy="126492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858610" y="838201"/>
            <a:ext cx="5904390" cy="5500456"/>
          </a:xfrm>
          <a:solidFill>
            <a:schemeClr val="bg2"/>
          </a:solidFill>
          <a:ln w="76200">
            <a:solidFill>
              <a:srgbClr val="FFFFFF"/>
            </a:solidFill>
            <a:miter lim="800000"/>
          </a:ln>
          <a:effectLst>
            <a:outerShdw blurRad="50800" dist="12700" dir="5400000" algn="t" rotWithShape="0">
              <a:prstClr val="black">
                <a:alpha val="59000"/>
              </a:prstClr>
            </a:outerShdw>
          </a:effectLst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133600"/>
            <a:ext cx="2139696" cy="424281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ACDF6120-F1F0-4C60-9FE9-39AC71A9C79D}" type="datetimeFigureOut">
              <a:rPr lang="en-US" smtClean="0"/>
              <a:pPr eaLnBrk="1" latinLnBrk="0" hangingPunct="1"/>
              <a:t>11/14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eaLnBrk="1" latinLnBrk="0" hangingPunct="1"/>
            <a:fld id="{EA7C8D44-3667-46F6-9772-CC52308E2A7F}" type="slidenum">
              <a:rPr kumimoji="0" lang="en-US" smtClean="0"/>
              <a:pPr eaLnBrk="1" latinLnBrk="0" hangingPunct="1"/>
              <a:t>‹nº›</a:t>
            </a:fld>
            <a:endParaRPr kumimoji="0"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220786"/>
            <a:ext cx="9144000" cy="2286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82880"/>
            <a:ext cx="8229600" cy="58070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941696"/>
            <a:ext cx="8229600" cy="55353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0" y="0"/>
            <a:ext cx="9144000" cy="1828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18288"/>
            <a:ext cx="28956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FFFFFF"/>
                </a:solidFill>
              </a:defRPr>
            </a:lvl1pPr>
          </a:lstStyle>
          <a:p>
            <a:pPr eaLnBrk="1" latinLnBrk="0" hangingPunct="1"/>
            <a:fld id="{ACDF6120-F1F0-4C60-9FE9-39AC71A9C79D}" type="datetimeFigureOut">
              <a:rPr lang="en-US" smtClean="0"/>
              <a:pPr eaLnBrk="1" latinLnBrk="0" hangingPunct="1"/>
              <a:t>11/14/2017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29000" y="18288"/>
            <a:ext cx="41148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</a:defRPr>
            </a:lvl1pPr>
          </a:lstStyle>
          <a:p>
            <a:pPr algn="r" eaLnBrk="1" latinLnBrk="0" hangingPunct="1"/>
            <a:endParaRPr kumimoji="0" lang="en-US" sz="1400" dirty="0">
              <a:solidFill>
                <a:schemeClr val="tx2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620000" y="18288"/>
            <a:ext cx="10668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00" b="1">
                <a:solidFill>
                  <a:srgbClr val="FFFFFF"/>
                </a:solidFill>
              </a:defRPr>
            </a:lvl1pPr>
          </a:lstStyle>
          <a:p>
            <a:pPr algn="l" eaLnBrk="1" latinLnBrk="0" hangingPunct="1"/>
            <a:fld id="{EA7C8D44-3667-46F6-9772-CC52308E2A7F}" type="slidenum">
              <a:rPr kumimoji="0" lang="en-US" smtClean="0"/>
              <a:pPr algn="l" eaLnBrk="1" latinLnBrk="0" hangingPunct="1"/>
              <a:t>‹nº›</a:t>
            </a:fld>
            <a:endParaRPr kumimoji="0" lang="en-US" sz="1600" dirty="0">
              <a:solidFill>
                <a:schemeClr val="tx2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9144000" cy="1828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4998925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7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31"/>
          <p:cNvSpPr>
            <a:spLocks noChangeArrowheads="1"/>
          </p:cNvSpPr>
          <p:nvPr userDrawn="1"/>
        </p:nvSpPr>
        <p:spPr bwMode="auto">
          <a:xfrm>
            <a:off x="342900" y="6321425"/>
            <a:ext cx="8801100" cy="42863"/>
          </a:xfrm>
          <a:prstGeom prst="rect">
            <a:avLst/>
          </a:prstGeom>
          <a:gradFill rotWithShape="1">
            <a:gsLst>
              <a:gs pos="0">
                <a:srgbClr val="333300"/>
              </a:gs>
              <a:gs pos="100000">
                <a:schemeClr val="bg1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pt-BR" altLang="pt-BR" b="0"/>
          </a:p>
        </p:txBody>
      </p:sp>
      <p:sp>
        <p:nvSpPr>
          <p:cNvPr id="13" name="Rectangle 34"/>
          <p:cNvSpPr>
            <a:spLocks noChangeArrowheads="1"/>
          </p:cNvSpPr>
          <p:nvPr userDrawn="1"/>
        </p:nvSpPr>
        <p:spPr bwMode="auto">
          <a:xfrm>
            <a:off x="8375650" y="6343650"/>
            <a:ext cx="51435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8A0DC29D-2067-4C30-BDF8-B9CA635915A6}" type="slidenum">
              <a:rPr lang="es-ES_tradnl" altLang="pt-BR" sz="1500" smtClean="0">
                <a:solidFill>
                  <a:srgbClr val="333300"/>
                </a:solidFill>
              </a:rPr>
              <a:pPr algn="r">
                <a:defRPr/>
              </a:pPr>
              <a:t>‹nº›</a:t>
            </a:fld>
            <a:endParaRPr lang="es-ES_tradnl" altLang="pt-BR" sz="1500">
              <a:solidFill>
                <a:srgbClr val="333300"/>
              </a:solidFill>
            </a:endParaRPr>
          </a:p>
        </p:txBody>
      </p:sp>
      <p:sp>
        <p:nvSpPr>
          <p:cNvPr id="14" name="Rectangle 31"/>
          <p:cNvSpPr>
            <a:spLocks noChangeArrowheads="1"/>
          </p:cNvSpPr>
          <p:nvPr userDrawn="1"/>
        </p:nvSpPr>
        <p:spPr bwMode="auto">
          <a:xfrm>
            <a:off x="330200" y="720725"/>
            <a:ext cx="8801100" cy="42863"/>
          </a:xfrm>
          <a:prstGeom prst="rect">
            <a:avLst/>
          </a:prstGeom>
          <a:gradFill rotWithShape="1">
            <a:gsLst>
              <a:gs pos="0">
                <a:srgbClr val="333300"/>
              </a:gs>
              <a:gs pos="100000">
                <a:schemeClr val="bg1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pt-BR" altLang="pt-BR" b="0"/>
          </a:p>
        </p:txBody>
      </p:sp>
      <p:sp>
        <p:nvSpPr>
          <p:cNvPr id="15" name="Rectangle 8"/>
          <p:cNvSpPr>
            <a:spLocks noChangeArrowheads="1"/>
          </p:cNvSpPr>
          <p:nvPr userDrawn="1"/>
        </p:nvSpPr>
        <p:spPr bwMode="auto">
          <a:xfrm>
            <a:off x="174799" y="6364288"/>
            <a:ext cx="679450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s-ES" altLang="pt-BR" dirty="0">
                <a:solidFill>
                  <a:srgbClr val="333300"/>
                </a:solidFill>
              </a:rPr>
              <a:t>CCB</a:t>
            </a:r>
            <a:endParaRPr lang="pt-BR" altLang="pt-BR" dirty="0">
              <a:solidFill>
                <a:srgbClr val="3333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10" r:id="rId1"/>
    <p:sldLayoutId id="2147484211" r:id="rId2"/>
    <p:sldLayoutId id="2147484212" r:id="rId3"/>
    <p:sldLayoutId id="2147484213" r:id="rId4"/>
    <p:sldLayoutId id="2147484214" r:id="rId5"/>
    <p:sldLayoutId id="2147484215" r:id="rId6"/>
    <p:sldLayoutId id="2147484216" r:id="rId7"/>
    <p:sldLayoutId id="2147484217" r:id="rId8"/>
    <p:sldLayoutId id="2147484218" r:id="rId9"/>
    <p:sldLayoutId id="2147484219" r:id="rId10"/>
    <p:sldLayoutId id="2147484220" r:id="rId11"/>
  </p:sldLayoutIdLst>
  <p:txStyles>
    <p:titleStyle>
      <a:lvl1pPr algn="l" defTabSz="914400" rtl="0" eaLnBrk="1" latinLnBrk="0" hangingPunct="1">
        <a:spcBef>
          <a:spcPct val="0"/>
        </a:spcBef>
        <a:buNone/>
        <a:defRPr sz="4000" kern="1200" spc="-1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82880" algn="l" defTabSz="914400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spcBef>
          <a:spcPct val="20000"/>
        </a:spcBef>
        <a:buClr>
          <a:schemeClr val="accent1"/>
        </a:buClr>
        <a:buSzPct val="9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0584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88720" indent="-137160" algn="l" defTabSz="914400" rtl="0" eaLnBrk="1" latinLnBrk="0" hangingPunct="1">
        <a:spcBef>
          <a:spcPct val="20000"/>
        </a:spcBef>
        <a:buClr>
          <a:schemeClr val="accent1"/>
        </a:buClr>
        <a:buSzPct val="100000"/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37160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55448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173736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192024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pt-BR" altLang="pt-BR" sz="4000" b="1" dirty="0">
                <a:solidFill>
                  <a:schemeClr val="bg2">
                    <a:lumMod val="25000"/>
                  </a:schemeClr>
                </a:solidFill>
              </a:rPr>
              <a:t>PROCESSO DE COMPRAS</a:t>
            </a:r>
            <a:endParaRPr lang="pt-BR" sz="4000" b="1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685799" y="3505200"/>
            <a:ext cx="6890657" cy="1752600"/>
          </a:xfrm>
        </p:spPr>
        <p:txBody>
          <a:bodyPr/>
          <a:lstStyle/>
          <a:p>
            <a:r>
              <a:rPr lang="pt-BR" dirty="0" smtClean="0"/>
              <a:t>Sistema Campo </a:t>
            </a:r>
            <a:r>
              <a:rPr lang="pt-BR" dirty="0"/>
              <a:t>Limpo Paulista, </a:t>
            </a:r>
            <a:r>
              <a:rPr lang="pt-BR" dirty="0" smtClean="0"/>
              <a:t>Novembro 2017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033755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117824" y="153408"/>
            <a:ext cx="7306824" cy="580708"/>
          </a:xfrm>
        </p:spPr>
        <p:txBody>
          <a:bodyPr/>
          <a:lstStyle/>
          <a:p>
            <a:r>
              <a:rPr lang="pt-BR" sz="2400" dirty="0"/>
              <a:t>Processo de Compras – </a:t>
            </a:r>
            <a:r>
              <a:rPr lang="pt-BR" sz="2400" dirty="0" smtClean="0"/>
              <a:t>Sistema Campo Limpo Paulista</a:t>
            </a:r>
            <a:endParaRPr lang="pt-BR" sz="2400" dirty="0"/>
          </a:p>
        </p:txBody>
      </p:sp>
      <p:sp>
        <p:nvSpPr>
          <p:cNvPr id="5" name="Retângulo 4"/>
          <p:cNvSpPr/>
          <p:nvPr/>
        </p:nvSpPr>
        <p:spPr>
          <a:xfrm>
            <a:off x="521506" y="988476"/>
            <a:ext cx="1193073" cy="609599"/>
          </a:xfrm>
          <a:prstGeom prst="rect">
            <a:avLst/>
          </a:prstGeom>
          <a:noFill/>
          <a:ln w="31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b="0" dirty="0" smtClean="0">
                <a:latin typeface="Arial Narrow" panose="020B0606020202030204" pitchFamily="34" charset="0"/>
              </a:rPr>
              <a:t>Identificar </a:t>
            </a:r>
            <a:r>
              <a:rPr lang="pt-BR" sz="1000" b="0" dirty="0">
                <a:latin typeface="Arial Narrow" panose="020B0606020202030204" pitchFamily="34" charset="0"/>
              </a:rPr>
              <a:t>a necessidade do material a ser comprado</a:t>
            </a:r>
          </a:p>
        </p:txBody>
      </p:sp>
      <p:sp>
        <p:nvSpPr>
          <p:cNvPr id="6" name="Retângulo 5"/>
          <p:cNvSpPr/>
          <p:nvPr/>
        </p:nvSpPr>
        <p:spPr>
          <a:xfrm>
            <a:off x="3336021" y="2243756"/>
            <a:ext cx="1193073" cy="609599"/>
          </a:xfrm>
          <a:prstGeom prst="rect">
            <a:avLst/>
          </a:prstGeom>
          <a:noFill/>
          <a:ln w="31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b="0" dirty="0">
                <a:latin typeface="Arial Narrow" panose="020B0606020202030204" pitchFamily="34" charset="0"/>
              </a:rPr>
              <a:t>Solicitar cotação para 3 fornecedores</a:t>
            </a:r>
          </a:p>
        </p:txBody>
      </p:sp>
      <p:sp>
        <p:nvSpPr>
          <p:cNvPr id="9" name="Retângulo 8"/>
          <p:cNvSpPr/>
          <p:nvPr/>
        </p:nvSpPr>
        <p:spPr>
          <a:xfrm>
            <a:off x="5912997" y="2242522"/>
            <a:ext cx="1193073" cy="609599"/>
          </a:xfrm>
          <a:prstGeom prst="rect">
            <a:avLst/>
          </a:prstGeom>
          <a:noFill/>
          <a:ln w="31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b="0" dirty="0">
                <a:latin typeface="Arial Narrow" panose="020B0606020202030204" pitchFamily="34" charset="0"/>
              </a:rPr>
              <a:t>Analisar</a:t>
            </a:r>
            <a:r>
              <a:rPr lang="pt-BR" sz="1000" b="0" dirty="0" smtClean="0">
                <a:latin typeface="Arial Narrow" panose="020B0606020202030204" pitchFamily="34" charset="0"/>
              </a:rPr>
              <a:t>, Inserir cotações no Sistema</a:t>
            </a:r>
            <a:endParaRPr lang="pt-BR" sz="1000" b="0" dirty="0">
              <a:latin typeface="Arial Narrow" panose="020B0606020202030204" pitchFamily="34" charset="0"/>
            </a:endParaRPr>
          </a:p>
        </p:txBody>
      </p:sp>
      <p:sp>
        <p:nvSpPr>
          <p:cNvPr id="10" name="Retângulo 9"/>
          <p:cNvSpPr/>
          <p:nvPr/>
        </p:nvSpPr>
        <p:spPr>
          <a:xfrm>
            <a:off x="7759326" y="3351202"/>
            <a:ext cx="1193073" cy="758967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b="0" dirty="0" smtClean="0">
                <a:latin typeface="Arial Narrow" panose="020B0606020202030204" pitchFamily="34" charset="0"/>
              </a:rPr>
              <a:t>Sistema Envia e-mail para Fornecedor ganhador informando intenção de compra</a:t>
            </a:r>
            <a:endParaRPr lang="pt-BR" sz="1000" b="0" dirty="0">
              <a:latin typeface="Arial Narrow" panose="020B0606020202030204" pitchFamily="34" charset="0"/>
            </a:endParaRPr>
          </a:p>
        </p:txBody>
      </p:sp>
      <p:cxnSp>
        <p:nvCxnSpPr>
          <p:cNvPr id="19" name="Conector: Angulado 18"/>
          <p:cNvCxnSpPr>
            <a:stCxn id="5" idx="3"/>
            <a:endCxn id="6" idx="0"/>
          </p:cNvCxnSpPr>
          <p:nvPr/>
        </p:nvCxnSpPr>
        <p:spPr>
          <a:xfrm>
            <a:off x="1714579" y="1293276"/>
            <a:ext cx="2217979" cy="950480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tângulo 43"/>
          <p:cNvSpPr/>
          <p:nvPr/>
        </p:nvSpPr>
        <p:spPr>
          <a:xfrm>
            <a:off x="113190" y="839108"/>
            <a:ext cx="8926286" cy="1121241"/>
          </a:xfrm>
          <a:prstGeom prst="rect">
            <a:avLst/>
          </a:prstGeom>
          <a:noFill/>
          <a:ln w="31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000" b="0" dirty="0">
              <a:latin typeface="Arial Narrow" panose="020B0606020202030204" pitchFamily="34" charset="0"/>
            </a:endParaRPr>
          </a:p>
        </p:txBody>
      </p:sp>
      <p:sp>
        <p:nvSpPr>
          <p:cNvPr id="45" name="Retângulo 44"/>
          <p:cNvSpPr/>
          <p:nvPr/>
        </p:nvSpPr>
        <p:spPr>
          <a:xfrm>
            <a:off x="113190" y="837087"/>
            <a:ext cx="352231" cy="112231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vert270" rtlCol="0" anchor="ctr"/>
          <a:lstStyle/>
          <a:p>
            <a:pPr algn="ctr"/>
            <a:r>
              <a:rPr lang="pt-BR" sz="1000" b="0" dirty="0" smtClean="0">
                <a:latin typeface="Arial Narrow" panose="020B0606020202030204" pitchFamily="34" charset="0"/>
              </a:rPr>
              <a:t>REQUISITANTE</a:t>
            </a:r>
          </a:p>
          <a:p>
            <a:pPr algn="ctr"/>
            <a:r>
              <a:rPr lang="pt-BR" sz="1000" b="0" dirty="0" smtClean="0">
                <a:latin typeface="Arial Narrow" panose="020B0606020202030204" pitchFamily="34" charset="0"/>
              </a:rPr>
              <a:t> (fora do sistem</a:t>
            </a:r>
            <a:r>
              <a:rPr lang="pt-BR" sz="1000" b="0" dirty="0" smtClean="0">
                <a:latin typeface="Arial Narrow" panose="020B0606020202030204" pitchFamily="34" charset="0"/>
              </a:rPr>
              <a:t>a)</a:t>
            </a:r>
            <a:endParaRPr lang="pt-BR" sz="1000" b="0" dirty="0">
              <a:latin typeface="Arial Narrow" panose="020B0606020202030204" pitchFamily="34" charset="0"/>
            </a:endParaRPr>
          </a:p>
        </p:txBody>
      </p:sp>
      <p:sp>
        <p:nvSpPr>
          <p:cNvPr id="46" name="Retângulo 45"/>
          <p:cNvSpPr/>
          <p:nvPr/>
        </p:nvSpPr>
        <p:spPr>
          <a:xfrm>
            <a:off x="112972" y="1960831"/>
            <a:ext cx="8926286" cy="2590709"/>
          </a:xfrm>
          <a:prstGeom prst="rect">
            <a:avLst/>
          </a:prstGeom>
          <a:noFill/>
          <a:ln w="31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000" b="0" dirty="0">
              <a:latin typeface="Arial Narrow" panose="020B0606020202030204" pitchFamily="34" charset="0"/>
            </a:endParaRPr>
          </a:p>
        </p:txBody>
      </p:sp>
      <p:sp>
        <p:nvSpPr>
          <p:cNvPr id="47" name="Retângulo 46"/>
          <p:cNvSpPr/>
          <p:nvPr/>
        </p:nvSpPr>
        <p:spPr>
          <a:xfrm>
            <a:off x="112952" y="1960611"/>
            <a:ext cx="352231" cy="259099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vert270" rtlCol="0" anchor="ctr"/>
          <a:lstStyle/>
          <a:p>
            <a:pPr algn="ctr"/>
            <a:r>
              <a:rPr lang="pt-BR" sz="1000" b="0" dirty="0">
                <a:latin typeface="Arial Narrow" panose="020B0606020202030204" pitchFamily="34" charset="0"/>
              </a:rPr>
              <a:t>COMPRADOR</a:t>
            </a:r>
          </a:p>
        </p:txBody>
      </p:sp>
      <p:sp>
        <p:nvSpPr>
          <p:cNvPr id="65" name="Retângulo 64"/>
          <p:cNvSpPr/>
          <p:nvPr/>
        </p:nvSpPr>
        <p:spPr>
          <a:xfrm>
            <a:off x="112972" y="4553561"/>
            <a:ext cx="8926286" cy="1198081"/>
          </a:xfrm>
          <a:prstGeom prst="rect">
            <a:avLst/>
          </a:prstGeom>
          <a:noFill/>
          <a:ln w="31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000" b="0" dirty="0">
              <a:latin typeface="Arial Narrow" panose="020B0606020202030204" pitchFamily="34" charset="0"/>
            </a:endParaRPr>
          </a:p>
        </p:txBody>
      </p:sp>
      <p:sp>
        <p:nvSpPr>
          <p:cNvPr id="66" name="Retângulo 65"/>
          <p:cNvSpPr/>
          <p:nvPr/>
        </p:nvSpPr>
        <p:spPr>
          <a:xfrm>
            <a:off x="112972" y="4552492"/>
            <a:ext cx="352231" cy="11991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vert270" rtlCol="0" anchor="ctr"/>
          <a:lstStyle/>
          <a:p>
            <a:pPr algn="ctr"/>
            <a:r>
              <a:rPr lang="pt-BR" sz="1000" b="0" dirty="0" smtClean="0">
                <a:latin typeface="Arial Narrow" panose="020B0606020202030204" pitchFamily="34" charset="0"/>
              </a:rPr>
              <a:t>ADMINISTRADOR </a:t>
            </a:r>
            <a:endParaRPr lang="pt-BR" sz="1000" b="0" dirty="0">
              <a:latin typeface="Arial Narrow" panose="020B0606020202030204" pitchFamily="34" charset="0"/>
            </a:endParaRPr>
          </a:p>
        </p:txBody>
      </p:sp>
      <p:cxnSp>
        <p:nvCxnSpPr>
          <p:cNvPr id="120" name="Conector: Angulado 119"/>
          <p:cNvCxnSpPr>
            <a:stCxn id="6" idx="3"/>
            <a:endCxn id="9" idx="1"/>
          </p:cNvCxnSpPr>
          <p:nvPr/>
        </p:nvCxnSpPr>
        <p:spPr>
          <a:xfrm flipV="1">
            <a:off x="4529094" y="2547322"/>
            <a:ext cx="1383903" cy="1234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Conector: Angulado 122"/>
          <p:cNvCxnSpPr>
            <a:stCxn id="9" idx="2"/>
            <a:endCxn id="69" idx="0"/>
          </p:cNvCxnSpPr>
          <p:nvPr/>
        </p:nvCxnSpPr>
        <p:spPr>
          <a:xfrm rot="16200000" flipH="1">
            <a:off x="6221200" y="3140454"/>
            <a:ext cx="577188" cy="521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Retângulo 128"/>
          <p:cNvSpPr/>
          <p:nvPr/>
        </p:nvSpPr>
        <p:spPr>
          <a:xfrm>
            <a:off x="5959289" y="4724524"/>
            <a:ext cx="1101533" cy="609599"/>
          </a:xfrm>
          <a:prstGeom prst="rect">
            <a:avLst/>
          </a:prstGeom>
          <a:noFill/>
          <a:ln w="31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b="0" dirty="0">
                <a:latin typeface="Arial Narrow" panose="020B0606020202030204" pitchFamily="34" charset="0"/>
              </a:rPr>
              <a:t>Analisar as cotações e condições de pagamentos</a:t>
            </a:r>
          </a:p>
        </p:txBody>
      </p:sp>
      <p:cxnSp>
        <p:nvCxnSpPr>
          <p:cNvPr id="130" name="Conector: Angulado 129"/>
          <p:cNvCxnSpPr>
            <a:stCxn id="69" idx="2"/>
            <a:endCxn id="129" idx="0"/>
          </p:cNvCxnSpPr>
          <p:nvPr/>
        </p:nvCxnSpPr>
        <p:spPr>
          <a:xfrm rot="16200000" flipH="1">
            <a:off x="6167247" y="4381715"/>
            <a:ext cx="685616" cy="1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Retângulo 133"/>
          <p:cNvSpPr/>
          <p:nvPr/>
        </p:nvSpPr>
        <p:spPr>
          <a:xfrm>
            <a:off x="3382824" y="4750424"/>
            <a:ext cx="1193073" cy="609599"/>
          </a:xfrm>
          <a:prstGeom prst="rect">
            <a:avLst/>
          </a:prstGeom>
          <a:noFill/>
          <a:ln w="31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b="0" dirty="0">
                <a:latin typeface="Arial Narrow" panose="020B0606020202030204" pitchFamily="34" charset="0"/>
              </a:rPr>
              <a:t>Dar retorno ao </a:t>
            </a:r>
            <a:r>
              <a:rPr lang="pt-BR" sz="1000" b="0" dirty="0" smtClean="0">
                <a:latin typeface="Arial Narrow" panose="020B0606020202030204" pitchFamily="34" charset="0"/>
              </a:rPr>
              <a:t>Comprador</a:t>
            </a:r>
            <a:r>
              <a:rPr lang="pt-BR" sz="1000" b="0" dirty="0" smtClean="0">
                <a:latin typeface="Arial Narrow" panose="020B0606020202030204" pitchFamily="34" charset="0"/>
              </a:rPr>
              <a:t> </a:t>
            </a:r>
            <a:r>
              <a:rPr lang="pt-BR" sz="1000" b="0" dirty="0">
                <a:latin typeface="Arial Narrow" panose="020B0606020202030204" pitchFamily="34" charset="0"/>
              </a:rPr>
              <a:t>explicando razões da não aprovação</a:t>
            </a:r>
          </a:p>
        </p:txBody>
      </p:sp>
      <p:sp>
        <p:nvSpPr>
          <p:cNvPr id="141" name="Losango 140"/>
          <p:cNvSpPr/>
          <p:nvPr/>
        </p:nvSpPr>
        <p:spPr>
          <a:xfrm>
            <a:off x="7742443" y="4672170"/>
            <a:ext cx="1227573" cy="714305"/>
          </a:xfrm>
          <a:prstGeom prst="diamond">
            <a:avLst/>
          </a:prstGeom>
          <a:noFill/>
          <a:ln w="31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b="0" dirty="0">
                <a:latin typeface="Arial Narrow" panose="020B0606020202030204" pitchFamily="34" charset="0"/>
              </a:rPr>
              <a:t>Compra</a:t>
            </a:r>
          </a:p>
          <a:p>
            <a:pPr algn="ctr"/>
            <a:r>
              <a:rPr lang="pt-BR" sz="1000" b="0" dirty="0" smtClean="0">
                <a:latin typeface="Arial Narrow" panose="020B0606020202030204" pitchFamily="34" charset="0"/>
              </a:rPr>
              <a:t>aprovada?</a:t>
            </a:r>
            <a:endParaRPr lang="pt-BR" sz="1000" b="0" dirty="0">
              <a:latin typeface="Arial Narrow" panose="020B0606020202030204" pitchFamily="34" charset="0"/>
            </a:endParaRPr>
          </a:p>
        </p:txBody>
      </p:sp>
      <p:sp>
        <p:nvSpPr>
          <p:cNvPr id="151" name="Retângulo 150"/>
          <p:cNvSpPr/>
          <p:nvPr/>
        </p:nvSpPr>
        <p:spPr>
          <a:xfrm>
            <a:off x="7759476" y="877642"/>
            <a:ext cx="1192876" cy="933424"/>
          </a:xfrm>
          <a:prstGeom prst="rect">
            <a:avLst/>
          </a:prstGeom>
          <a:noFill/>
          <a:ln w="31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b="0" dirty="0" smtClean="0">
                <a:latin typeface="Arial Narrow" panose="020B0606020202030204" pitchFamily="34" charset="0"/>
              </a:rPr>
              <a:t>Receber </a:t>
            </a:r>
            <a:r>
              <a:rPr lang="pt-BR" sz="1000" b="0" dirty="0">
                <a:latin typeface="Arial Narrow" panose="020B0606020202030204" pitchFamily="34" charset="0"/>
              </a:rPr>
              <a:t>o material comprado e </a:t>
            </a:r>
            <a:r>
              <a:rPr lang="pt-BR" sz="1000" b="0" dirty="0" smtClean="0">
                <a:latin typeface="Arial Narrow" panose="020B0606020202030204" pitchFamily="34" charset="0"/>
              </a:rPr>
              <a:t>enviar  </a:t>
            </a:r>
            <a:r>
              <a:rPr lang="pt-BR" sz="1000" b="0" dirty="0">
                <a:latin typeface="Arial Narrow" panose="020B0606020202030204" pitchFamily="34" charset="0"/>
              </a:rPr>
              <a:t>(</a:t>
            </a:r>
            <a:r>
              <a:rPr lang="pt-BR" sz="1000" b="0" dirty="0" smtClean="0">
                <a:latin typeface="Arial Narrow" panose="020B0606020202030204" pitchFamily="34" charset="0"/>
              </a:rPr>
              <a:t>manualmente) </a:t>
            </a:r>
            <a:r>
              <a:rPr lang="pt-BR" sz="1000" b="0" dirty="0" smtClean="0">
                <a:latin typeface="Arial Narrow" panose="020B0606020202030204" pitchFamily="34" charset="0"/>
              </a:rPr>
              <a:t>NF </a:t>
            </a:r>
            <a:r>
              <a:rPr lang="pt-BR" sz="1000" b="0" dirty="0">
                <a:latin typeface="Arial Narrow" panose="020B0606020202030204" pitchFamily="34" charset="0"/>
              </a:rPr>
              <a:t>para </a:t>
            </a:r>
            <a:r>
              <a:rPr lang="pt-BR" sz="1000" b="0" dirty="0" smtClean="0">
                <a:latin typeface="Arial Narrow" panose="020B0606020202030204" pitchFamily="34" charset="0"/>
              </a:rPr>
              <a:t>tesouraria assinado </a:t>
            </a:r>
            <a:r>
              <a:rPr lang="pt-BR" sz="1000" b="0" dirty="0">
                <a:latin typeface="Arial Narrow" panose="020B0606020202030204" pitchFamily="34" charset="0"/>
              </a:rPr>
              <a:t>pelo </a:t>
            </a:r>
            <a:r>
              <a:rPr lang="pt-BR" sz="1000" b="0" dirty="0" smtClean="0">
                <a:latin typeface="Arial Narrow" panose="020B0606020202030204" pitchFamily="34" charset="0"/>
              </a:rPr>
              <a:t>ministério</a:t>
            </a:r>
            <a:endParaRPr lang="pt-BR" sz="1000" b="0" dirty="0">
              <a:latin typeface="Arial Narrow" panose="020B0606020202030204" pitchFamily="34" charset="0"/>
            </a:endParaRPr>
          </a:p>
        </p:txBody>
      </p:sp>
      <p:cxnSp>
        <p:nvCxnSpPr>
          <p:cNvPr id="152" name="Conector: Angulado 151"/>
          <p:cNvCxnSpPr>
            <a:stCxn id="10" idx="0"/>
            <a:endCxn id="226" idx="2"/>
          </p:cNvCxnSpPr>
          <p:nvPr/>
        </p:nvCxnSpPr>
        <p:spPr>
          <a:xfrm rot="16200000" flipV="1">
            <a:off x="8103291" y="3098629"/>
            <a:ext cx="504838" cy="307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2" name="Conector: Angulado 171"/>
          <p:cNvCxnSpPr>
            <a:stCxn id="129" idx="3"/>
            <a:endCxn id="141" idx="1"/>
          </p:cNvCxnSpPr>
          <p:nvPr/>
        </p:nvCxnSpPr>
        <p:spPr>
          <a:xfrm flipV="1">
            <a:off x="7060822" y="5029323"/>
            <a:ext cx="681621" cy="1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Conector: Angulado 174"/>
          <p:cNvCxnSpPr>
            <a:stCxn id="141" idx="0"/>
            <a:endCxn id="10" idx="2"/>
          </p:cNvCxnSpPr>
          <p:nvPr/>
        </p:nvCxnSpPr>
        <p:spPr>
          <a:xfrm rot="16200000" flipV="1">
            <a:off x="8075047" y="4390986"/>
            <a:ext cx="562001" cy="367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2" name="Retângulo 181"/>
          <p:cNvSpPr/>
          <p:nvPr/>
        </p:nvSpPr>
        <p:spPr>
          <a:xfrm>
            <a:off x="8104978" y="4487117"/>
            <a:ext cx="258404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1050" dirty="0">
                <a:latin typeface="Arial Narrow" panose="020B0606020202030204" pitchFamily="34" charset="0"/>
              </a:rPr>
              <a:t>S</a:t>
            </a:r>
            <a:endParaRPr lang="pt-BR" sz="1050" dirty="0"/>
          </a:p>
        </p:txBody>
      </p:sp>
      <p:sp>
        <p:nvSpPr>
          <p:cNvPr id="183" name="Retângulo 182"/>
          <p:cNvSpPr/>
          <p:nvPr/>
        </p:nvSpPr>
        <p:spPr>
          <a:xfrm>
            <a:off x="8098566" y="5334123"/>
            <a:ext cx="264816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1050" dirty="0">
                <a:latin typeface="Arial Narrow" panose="020B0606020202030204" pitchFamily="34" charset="0"/>
              </a:rPr>
              <a:t>N</a:t>
            </a:r>
            <a:endParaRPr lang="pt-BR" sz="1050" dirty="0"/>
          </a:p>
        </p:txBody>
      </p:sp>
      <p:cxnSp>
        <p:nvCxnSpPr>
          <p:cNvPr id="184" name="Conector: Angulado 183"/>
          <p:cNvCxnSpPr>
            <a:stCxn id="141" idx="2"/>
            <a:endCxn id="134" idx="2"/>
          </p:cNvCxnSpPr>
          <p:nvPr/>
        </p:nvCxnSpPr>
        <p:spPr>
          <a:xfrm rot="5400000" flipH="1">
            <a:off x="6154570" y="3184815"/>
            <a:ext cx="26452" cy="4376869"/>
          </a:xfrm>
          <a:prstGeom prst="bentConnector3">
            <a:avLst>
              <a:gd name="adj1" fmla="val -864207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tângulo: Cantos Arredondados 27"/>
          <p:cNvSpPr/>
          <p:nvPr/>
        </p:nvSpPr>
        <p:spPr>
          <a:xfrm>
            <a:off x="502196" y="2390498"/>
            <a:ext cx="1193073" cy="302134"/>
          </a:xfrm>
          <a:prstGeom prst="roundRect">
            <a:avLst/>
          </a:prstGeom>
          <a:solidFill>
            <a:srgbClr val="FF0000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200" dirty="0">
                <a:solidFill>
                  <a:schemeClr val="bg1"/>
                </a:solidFill>
              </a:rPr>
              <a:t>FIM</a:t>
            </a:r>
          </a:p>
        </p:txBody>
      </p:sp>
      <p:sp>
        <p:nvSpPr>
          <p:cNvPr id="83" name="Retângulo: Cantos Arredondados 82"/>
          <p:cNvSpPr/>
          <p:nvPr/>
        </p:nvSpPr>
        <p:spPr>
          <a:xfrm>
            <a:off x="6082432" y="1193981"/>
            <a:ext cx="1193073" cy="302134"/>
          </a:xfrm>
          <a:prstGeom prst="roundRect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200" dirty="0">
                <a:solidFill>
                  <a:schemeClr val="bg1"/>
                </a:solidFill>
              </a:rPr>
              <a:t>FIM</a:t>
            </a:r>
          </a:p>
        </p:txBody>
      </p:sp>
      <p:sp>
        <p:nvSpPr>
          <p:cNvPr id="69" name="Retângulo 68"/>
          <p:cNvSpPr/>
          <p:nvPr/>
        </p:nvSpPr>
        <p:spPr>
          <a:xfrm>
            <a:off x="5913518" y="3429309"/>
            <a:ext cx="1193073" cy="609599"/>
          </a:xfrm>
          <a:prstGeom prst="rect">
            <a:avLst/>
          </a:prstGeom>
          <a:noFill/>
          <a:ln w="31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b="0" dirty="0" smtClean="0">
                <a:latin typeface="Arial Narrow" panose="020B0606020202030204" pitchFamily="34" charset="0"/>
              </a:rPr>
              <a:t>Solicitar aprovação da cotação realizada</a:t>
            </a:r>
            <a:endParaRPr lang="pt-BR" sz="1000" b="0" dirty="0">
              <a:latin typeface="Arial Narrow" panose="020B0606020202030204" pitchFamily="34" charset="0"/>
            </a:endParaRPr>
          </a:p>
        </p:txBody>
      </p:sp>
      <p:sp>
        <p:nvSpPr>
          <p:cNvPr id="78" name="Losango 77"/>
          <p:cNvSpPr/>
          <p:nvPr/>
        </p:nvSpPr>
        <p:spPr>
          <a:xfrm>
            <a:off x="1819838" y="4614075"/>
            <a:ext cx="1292333" cy="882296"/>
          </a:xfrm>
          <a:prstGeom prst="diamond">
            <a:avLst/>
          </a:prstGeom>
          <a:noFill/>
          <a:ln w="31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b="0" dirty="0" smtClean="0">
                <a:latin typeface="Arial Narrow" panose="020B0606020202030204" pitchFamily="34" charset="0"/>
              </a:rPr>
              <a:t>Solicitado correção</a:t>
            </a:r>
          </a:p>
          <a:p>
            <a:pPr algn="ctr"/>
            <a:r>
              <a:rPr lang="pt-BR" sz="1000" b="0" dirty="0" smtClean="0">
                <a:latin typeface="Arial Narrow" panose="020B0606020202030204" pitchFamily="34" charset="0"/>
              </a:rPr>
              <a:t>?</a:t>
            </a:r>
            <a:endParaRPr lang="pt-BR" sz="1000" b="0" dirty="0">
              <a:latin typeface="Arial Narrow" panose="020B0606020202030204" pitchFamily="34" charset="0"/>
            </a:endParaRPr>
          </a:p>
        </p:txBody>
      </p:sp>
      <p:cxnSp>
        <p:nvCxnSpPr>
          <p:cNvPr id="79" name="Conector: Angulado 119"/>
          <p:cNvCxnSpPr>
            <a:stCxn id="134" idx="1"/>
            <a:endCxn id="78" idx="3"/>
          </p:cNvCxnSpPr>
          <p:nvPr/>
        </p:nvCxnSpPr>
        <p:spPr>
          <a:xfrm rot="10800000">
            <a:off x="3112172" y="5055224"/>
            <a:ext cx="270653" cy="1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Retângulo 86"/>
          <p:cNvSpPr/>
          <p:nvPr/>
        </p:nvSpPr>
        <p:spPr>
          <a:xfrm>
            <a:off x="2241403" y="4324884"/>
            <a:ext cx="258404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1050" dirty="0">
                <a:latin typeface="Arial Narrow" panose="020B0606020202030204" pitchFamily="34" charset="0"/>
              </a:rPr>
              <a:t>S</a:t>
            </a:r>
            <a:endParaRPr lang="pt-BR" sz="1050" dirty="0"/>
          </a:p>
        </p:txBody>
      </p:sp>
      <p:sp>
        <p:nvSpPr>
          <p:cNvPr id="88" name="Retângulo 87"/>
          <p:cNvSpPr/>
          <p:nvPr/>
        </p:nvSpPr>
        <p:spPr>
          <a:xfrm>
            <a:off x="1613260" y="4801653"/>
            <a:ext cx="264816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1050" dirty="0">
                <a:latin typeface="Arial Narrow" panose="020B0606020202030204" pitchFamily="34" charset="0"/>
              </a:rPr>
              <a:t>N</a:t>
            </a:r>
            <a:endParaRPr lang="pt-BR" sz="1050" dirty="0"/>
          </a:p>
        </p:txBody>
      </p:sp>
      <p:cxnSp>
        <p:nvCxnSpPr>
          <p:cNvPr id="89" name="Conector: Angulado 119"/>
          <p:cNvCxnSpPr>
            <a:stCxn id="78" idx="0"/>
            <a:endCxn id="162" idx="2"/>
          </p:cNvCxnSpPr>
          <p:nvPr/>
        </p:nvCxnSpPr>
        <p:spPr>
          <a:xfrm rot="5400000" flipH="1" flipV="1">
            <a:off x="2178579" y="4326649"/>
            <a:ext cx="574852" cy="1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Conector: Angulado 119"/>
          <p:cNvCxnSpPr>
            <a:stCxn id="78" idx="1"/>
            <a:endCxn id="28" idx="2"/>
          </p:cNvCxnSpPr>
          <p:nvPr/>
        </p:nvCxnSpPr>
        <p:spPr>
          <a:xfrm rot="10800000">
            <a:off x="1098734" y="2692633"/>
            <a:ext cx="721105" cy="2362591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Conector: Angulado 151"/>
          <p:cNvCxnSpPr>
            <a:stCxn id="151" idx="1"/>
            <a:endCxn id="83" idx="3"/>
          </p:cNvCxnSpPr>
          <p:nvPr/>
        </p:nvCxnSpPr>
        <p:spPr>
          <a:xfrm rot="10800000" flipV="1">
            <a:off x="7275506" y="1344354"/>
            <a:ext cx="483971" cy="694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Retângulo 161"/>
          <p:cNvSpPr/>
          <p:nvPr/>
        </p:nvSpPr>
        <p:spPr>
          <a:xfrm>
            <a:off x="1869469" y="3429212"/>
            <a:ext cx="1193073" cy="610011"/>
          </a:xfrm>
          <a:prstGeom prst="rect">
            <a:avLst/>
          </a:prstGeom>
          <a:noFill/>
          <a:ln w="31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b="0" dirty="0" smtClean="0">
                <a:latin typeface="Arial Narrow" panose="020B0606020202030204" pitchFamily="34" charset="0"/>
              </a:rPr>
              <a:t>Realizar correções nos itens solicitados</a:t>
            </a:r>
            <a:endParaRPr lang="pt-BR" sz="1000" b="0" dirty="0">
              <a:latin typeface="Arial Narrow" panose="020B0606020202030204" pitchFamily="34" charset="0"/>
            </a:endParaRPr>
          </a:p>
        </p:txBody>
      </p:sp>
      <p:cxnSp>
        <p:nvCxnSpPr>
          <p:cNvPr id="165" name="Conector: Angulado 119"/>
          <p:cNvCxnSpPr>
            <a:stCxn id="162" idx="3"/>
            <a:endCxn id="199" idx="1"/>
          </p:cNvCxnSpPr>
          <p:nvPr/>
        </p:nvCxnSpPr>
        <p:spPr>
          <a:xfrm>
            <a:off x="3062542" y="3734218"/>
            <a:ext cx="223150" cy="21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9" name="Losango 198"/>
          <p:cNvSpPr/>
          <p:nvPr/>
        </p:nvSpPr>
        <p:spPr>
          <a:xfrm>
            <a:off x="3285692" y="3293091"/>
            <a:ext cx="1295368" cy="882296"/>
          </a:xfrm>
          <a:prstGeom prst="diamond">
            <a:avLst/>
          </a:prstGeom>
          <a:noFill/>
          <a:ln w="31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b="0" dirty="0" smtClean="0">
                <a:latin typeface="Arial Narrow" panose="020B0606020202030204" pitchFamily="34" charset="0"/>
              </a:rPr>
              <a:t>Necessit</a:t>
            </a:r>
            <a:r>
              <a:rPr lang="pt-BR" sz="1000" b="0" dirty="0" smtClean="0">
                <a:latin typeface="Arial Narrow" panose="020B0606020202030204" pitchFamily="34" charset="0"/>
              </a:rPr>
              <a:t>a a</a:t>
            </a:r>
            <a:r>
              <a:rPr lang="pt-BR" sz="1000" b="0" dirty="0" smtClean="0">
                <a:latin typeface="Arial Narrow" panose="020B0606020202030204" pitchFamily="34" charset="0"/>
              </a:rPr>
              <a:t>lterar materiais</a:t>
            </a:r>
          </a:p>
          <a:p>
            <a:pPr algn="ctr"/>
            <a:r>
              <a:rPr lang="pt-BR" sz="1000" b="0" dirty="0" smtClean="0">
                <a:latin typeface="Arial Narrow" panose="020B0606020202030204" pitchFamily="34" charset="0"/>
              </a:rPr>
              <a:t>?</a:t>
            </a:r>
            <a:endParaRPr lang="pt-BR" sz="1000" b="0" dirty="0">
              <a:latin typeface="Arial Narrow" panose="020B0606020202030204" pitchFamily="34" charset="0"/>
            </a:endParaRPr>
          </a:p>
        </p:txBody>
      </p:sp>
      <p:sp>
        <p:nvSpPr>
          <p:cNvPr id="202" name="Retângulo 201"/>
          <p:cNvSpPr/>
          <p:nvPr/>
        </p:nvSpPr>
        <p:spPr>
          <a:xfrm>
            <a:off x="3929958" y="3101422"/>
            <a:ext cx="258404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1050" dirty="0">
                <a:latin typeface="Arial Narrow" panose="020B0606020202030204" pitchFamily="34" charset="0"/>
              </a:rPr>
              <a:t>S</a:t>
            </a:r>
            <a:endParaRPr lang="pt-BR" sz="1050" dirty="0"/>
          </a:p>
        </p:txBody>
      </p:sp>
      <p:sp>
        <p:nvSpPr>
          <p:cNvPr id="203" name="Retângulo 202"/>
          <p:cNvSpPr/>
          <p:nvPr/>
        </p:nvSpPr>
        <p:spPr>
          <a:xfrm>
            <a:off x="4528394" y="3505699"/>
            <a:ext cx="264816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1050" dirty="0">
                <a:latin typeface="Arial Narrow" panose="020B0606020202030204" pitchFamily="34" charset="0"/>
              </a:rPr>
              <a:t>N</a:t>
            </a:r>
            <a:endParaRPr lang="pt-BR" sz="1050" dirty="0"/>
          </a:p>
        </p:txBody>
      </p:sp>
      <p:cxnSp>
        <p:nvCxnSpPr>
          <p:cNvPr id="204" name="Conector: Angulado 119"/>
          <p:cNvCxnSpPr>
            <a:stCxn id="199" idx="0"/>
            <a:endCxn id="6" idx="2"/>
          </p:cNvCxnSpPr>
          <p:nvPr/>
        </p:nvCxnSpPr>
        <p:spPr>
          <a:xfrm rot="16200000" flipV="1">
            <a:off x="3713099" y="3072814"/>
            <a:ext cx="439736" cy="818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Conector: Angulado 119"/>
          <p:cNvCxnSpPr>
            <a:stCxn id="199" idx="3"/>
            <a:endCxn id="69" idx="1"/>
          </p:cNvCxnSpPr>
          <p:nvPr/>
        </p:nvCxnSpPr>
        <p:spPr>
          <a:xfrm flipV="1">
            <a:off x="4581060" y="3734109"/>
            <a:ext cx="1332458" cy="130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6" name="Retângulo 225"/>
          <p:cNvSpPr/>
          <p:nvPr/>
        </p:nvSpPr>
        <p:spPr>
          <a:xfrm>
            <a:off x="7759019" y="2236765"/>
            <a:ext cx="1193073" cy="609599"/>
          </a:xfrm>
          <a:prstGeom prst="rect">
            <a:avLst/>
          </a:prstGeom>
          <a:noFill/>
          <a:ln w="31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b="0" dirty="0" smtClean="0">
                <a:latin typeface="Arial Narrow" panose="020B0606020202030204" pitchFamily="34" charset="0"/>
              </a:rPr>
              <a:t>Finalizar compra no Sistema</a:t>
            </a:r>
            <a:endParaRPr lang="pt-BR" sz="1000" b="0" dirty="0">
              <a:latin typeface="Arial Narrow" panose="020B0606020202030204" pitchFamily="34" charset="0"/>
            </a:endParaRPr>
          </a:p>
        </p:txBody>
      </p:sp>
      <p:cxnSp>
        <p:nvCxnSpPr>
          <p:cNvPr id="229" name="Conector: Angulado 151"/>
          <p:cNvCxnSpPr>
            <a:stCxn id="226" idx="0"/>
            <a:endCxn id="151" idx="2"/>
          </p:cNvCxnSpPr>
          <p:nvPr/>
        </p:nvCxnSpPr>
        <p:spPr>
          <a:xfrm rot="5400000" flipH="1" flipV="1">
            <a:off x="8142886" y="2023737"/>
            <a:ext cx="425699" cy="358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5765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Clarity">
  <a:themeElements>
    <a:clrScheme name="Grid">
      <a:dk1>
        <a:sysClr val="windowText" lastClr="000000"/>
      </a:dk1>
      <a:lt1>
        <a:sysClr val="window" lastClr="FFFFFF"/>
      </a:lt1>
      <a:dk2>
        <a:srgbClr val="534949"/>
      </a:dk2>
      <a:lt2>
        <a:srgbClr val="CCD1B9"/>
      </a:lt2>
      <a:accent1>
        <a:srgbClr val="C66951"/>
      </a:accent1>
      <a:accent2>
        <a:srgbClr val="BF974D"/>
      </a:accent2>
      <a:accent3>
        <a:srgbClr val="928B70"/>
      </a:accent3>
      <a:accent4>
        <a:srgbClr val="87706B"/>
      </a:accent4>
      <a:accent5>
        <a:srgbClr val="94734E"/>
      </a:accent5>
      <a:accent6>
        <a:srgbClr val="6F777D"/>
      </a:accent6>
      <a:hlink>
        <a:srgbClr val="CC9900"/>
      </a:hlink>
      <a:folHlink>
        <a:srgbClr val="C0C0C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Apex">
      <a:fillStyleLst>
        <a:solidFill>
          <a:schemeClr val="phClr"/>
        </a:solidFill>
        <a:gradFill rotWithShape="1">
          <a:gsLst>
            <a:gs pos="20000">
              <a:schemeClr val="phClr">
                <a:tint val="9000"/>
              </a:schemeClr>
            </a:gs>
            <a:gs pos="100000">
              <a:schemeClr val="phClr">
                <a:tint val="70000"/>
                <a:satMod val="100000"/>
              </a:schemeClr>
            </a:gs>
          </a:gsLst>
          <a:path path="circle">
            <a:fillToRect l="-15000" t="-15000" r="115000" b="115000"/>
          </a:path>
        </a:gradFill>
        <a:gradFill rotWithShape="1">
          <a:gsLst>
            <a:gs pos="0">
              <a:schemeClr val="phClr">
                <a:shade val="60000"/>
              </a:schemeClr>
            </a:gs>
            <a:gs pos="33000">
              <a:schemeClr val="phClr">
                <a:tint val="86500"/>
              </a:schemeClr>
            </a:gs>
            <a:gs pos="46750">
              <a:schemeClr val="phClr">
                <a:tint val="71000"/>
                <a:satMod val="112000"/>
              </a:schemeClr>
            </a:gs>
            <a:gs pos="53000">
              <a:schemeClr val="phClr">
                <a:tint val="71000"/>
                <a:satMod val="112000"/>
              </a:schemeClr>
            </a:gs>
            <a:gs pos="68000">
              <a:schemeClr val="phClr">
                <a:tint val="86000"/>
              </a:schemeClr>
            </a:gs>
            <a:gs pos="100000">
              <a:schemeClr val="phClr">
                <a:shade val="60000"/>
              </a:schemeClr>
            </a:gs>
          </a:gsLst>
          <a:lin ang="8350000" scaled="1"/>
        </a:gradFill>
      </a:fillStyleLst>
      <a:lnStyleLst>
        <a:ln w="9525" cap="flat" cmpd="sng" algn="ctr">
          <a:solidFill>
            <a:schemeClr val="phClr">
              <a:shade val="48000"/>
              <a:satMod val="11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130000" dist="101600" dir="2700000" algn="tl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190500" dist="228600" dir="2700000" sy="90000" rotWithShape="0">
              <a:srgbClr val="000000">
                <a:alpha val="25500"/>
              </a:srgbClr>
            </a:outerShdw>
          </a:effectLst>
        </a:effectStyle>
        <a:effectStyle>
          <a:effectLst>
            <a:outerShdw blurRad="190500" dist="228600" dir="2700000" sy="90000" rotWithShape="0">
              <a:srgbClr val="000000">
                <a:alpha val="25500"/>
              </a:srgbClr>
            </a:outerShdw>
          </a:effectLst>
          <a:scene3d>
            <a:camera prst="orthographicFront" fov="0">
              <a:rot lat="0" lon="0" rev="0"/>
            </a:camera>
            <a:lightRig rig="soft" dir="tl">
              <a:rot lat="0" lon="0" rev="20100000"/>
            </a:lightRig>
          </a:scene3d>
          <a:sp3d>
            <a:bevelT w="50800"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satMod val="180000"/>
              </a:schemeClr>
            </a:gs>
            <a:gs pos="40000">
              <a:schemeClr val="phClr">
                <a:tint val="95000"/>
                <a:shade val="85000"/>
                <a:satMod val="150000"/>
              </a:schemeClr>
            </a:gs>
            <a:gs pos="100000">
              <a:schemeClr val="phClr">
                <a:shade val="45000"/>
                <a:satMod val="20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55000"/>
              </a:schemeClr>
              <a:schemeClr val="phClr">
                <a:tint val="97000"/>
                <a:satMod val="95000"/>
              </a:schemeClr>
            </a:duotone>
          </a:blip>
          <a:tile tx="0" ty="0" sx="70000" sy="7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larity</Template>
  <TotalTime>7681</TotalTime>
  <Words>120</Words>
  <Application>Microsoft Office PowerPoint</Application>
  <PresentationFormat>Apresentação na tela (4:3)</PresentationFormat>
  <Paragraphs>32</Paragraphs>
  <Slides>2</Slides>
  <Notes>1</Notes>
  <HiddenSlides>0</HiddenSlides>
  <MMClips>0</MMClips>
  <ScaleCrop>false</ScaleCrop>
  <HeadingPairs>
    <vt:vector size="8" baseType="variant">
      <vt:variant>
        <vt:lpstr>Fontes usadas</vt:lpstr>
      </vt:variant>
      <vt:variant>
        <vt:i4>2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2</vt:i4>
      </vt:variant>
    </vt:vector>
  </HeadingPairs>
  <TitlesOfParts>
    <vt:vector size="6" baseType="lpstr">
      <vt:lpstr>Arial</vt:lpstr>
      <vt:lpstr>Arial Narrow</vt:lpstr>
      <vt:lpstr>Clarity</vt:lpstr>
      <vt:lpstr>think-cell Slide</vt:lpstr>
      <vt:lpstr>PROCESSO DE COMPRAS</vt:lpstr>
      <vt:lpstr>Processo de Compras – Sistema Campo Limpo Paulista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posta de Gestão Administrativa CCB</dc:title>
  <dc:creator>NG</dc:creator>
  <cp:lastModifiedBy>Almir</cp:lastModifiedBy>
  <cp:revision>610</cp:revision>
  <dcterms:created xsi:type="dcterms:W3CDTF">2005-12-19T15:29:34Z</dcterms:created>
  <dcterms:modified xsi:type="dcterms:W3CDTF">2017-11-15T00:55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ombre Plantilla">
    <vt:lpwstr>Plantilla PowerPoint</vt:lpwstr>
  </property>
</Properties>
</file>